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69</Words>
  <Application>Microsoft Office PowerPoint</Application>
  <PresentationFormat>Widescreen</PresentationFormat>
  <Paragraphs>3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Conduct a multi-cloud vulnerability impact assessme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1:06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